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9" r:id="rId4"/>
  </p:sldMasterIdLst>
  <p:notesMasterIdLst>
    <p:notesMasterId r:id="rId9"/>
  </p:notesMasterIdLst>
  <p:handoutMasterIdLst>
    <p:handoutMasterId r:id="rId10"/>
  </p:handoutMasterIdLst>
  <p:sldIdLst>
    <p:sldId id="398" r:id="rId5"/>
    <p:sldId id="399" r:id="rId6"/>
    <p:sldId id="400" r:id="rId7"/>
    <p:sldId id="401" r:id="rId8"/>
  </p:sldIdLst>
  <p:sldSz cx="12192000" cy="6858000"/>
  <p:notesSz cx="7099300" cy="10234613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jamin Traub" initials="BT" lastIdx="2" clrIdx="0">
    <p:extLst>
      <p:ext uri="{19B8F6BF-5375-455C-9EA6-DF929625EA0E}">
        <p15:presenceInfo xmlns:p15="http://schemas.microsoft.com/office/powerpoint/2012/main" userId="f5ebefa9347c93e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632CA6"/>
    <a:srgbClr val="D48D5D"/>
    <a:srgbClr val="4D55BD"/>
    <a:srgbClr val="E7AD1F"/>
    <a:srgbClr val="CEBF52"/>
    <a:srgbClr val="F9E65C"/>
    <a:srgbClr val="ACACAC"/>
    <a:srgbClr val="368F9A"/>
    <a:srgbClr val="427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1E87A9-38D4-40A7-9EF6-69F6B70DE469}" v="6" dt="2020-06-30T13:32:15.475"/>
    <p1510:client id="{5B4F87EE-076C-4A77-B564-08A3087B7AF7}" v="2" dt="2020-06-30T16:37:15.404"/>
    <p1510:client id="{7383BC50-C2B8-42A2-8CC6-CAF4F08B8230}" v="59" dt="2020-06-30T13:18:06.789"/>
    <p1510:client id="{AA8EF07B-228D-4D57-AEC0-91BB15959A92}" v="60" dt="2020-06-30T13:54:01.002"/>
    <p1510:client id="{B3BC8CDD-F0AF-4411-9826-BF1257034842}" v="585" dt="2020-06-30T13:27:57.822"/>
    <p1510:client id="{BF2CDA67-C5AB-4434-AD92-F8B4B1511F00}" v="157" dt="2020-06-30T13:42:16.299"/>
    <p1510:client id="{F622154E-3A69-4836-86B6-7366F059A692}" v="22" dt="2020-06-30T13:15:37.566"/>
    <p1510:client id="{FBDD48D2-87C7-42D7-974D-6E4165A881E6}" v="6" dt="2020-06-30T13:33:53.452"/>
    <p1510:client id="{FE03D332-CB6E-4DF5-9B71-45ED904CB679}" v="12" dt="2020-06-30T13:44:0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309"/>
        <p:guide pos="416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san Hüseyin Akhuy" userId="S::hasan_hueseyin.akhuy@cs.reutlingen-university.de::68465b0a-62d3-41fa-9b1c-522b80e65110" providerId="AD" clId="Web-{FE03D332-CB6E-4DF5-9B71-45ED904CB679}"/>
    <pc:docChg chg="modSld">
      <pc:chgData name="Hasan Hüseyin Akhuy" userId="S::hasan_hueseyin.akhuy@cs.reutlingen-university.de::68465b0a-62d3-41fa-9b1c-522b80e65110" providerId="AD" clId="Web-{FE03D332-CB6E-4DF5-9B71-45ED904CB679}" dt="2020-06-30T13:44:05.668" v="11" actId="1076"/>
      <pc:docMkLst>
        <pc:docMk/>
      </pc:docMkLst>
      <pc:sldChg chg="modSp">
        <pc:chgData name="Hasan Hüseyin Akhuy" userId="S::hasan_hueseyin.akhuy@cs.reutlingen-university.de::68465b0a-62d3-41fa-9b1c-522b80e65110" providerId="AD" clId="Web-{FE03D332-CB6E-4DF5-9B71-45ED904CB679}" dt="2020-06-30T13:44:05.668" v="11" actId="1076"/>
        <pc:sldMkLst>
          <pc:docMk/>
          <pc:sldMk cId="4039081636" sldId="401"/>
        </pc:sldMkLst>
        <pc:spChg chg="mod">
          <ac:chgData name="Hasan Hüseyin Akhuy" userId="S::hasan_hueseyin.akhuy@cs.reutlingen-university.de::68465b0a-62d3-41fa-9b1c-522b80e65110" providerId="AD" clId="Web-{FE03D332-CB6E-4DF5-9B71-45ED904CB679}" dt="2020-06-30T13:43:42.652" v="2" actId="1076"/>
          <ac:spMkLst>
            <pc:docMk/>
            <pc:sldMk cId="4039081636" sldId="401"/>
            <ac:spMk id="29" creationId="{E8F6FF3D-47B4-449E-A935-3A1552EBBBA5}"/>
          </ac:spMkLst>
        </pc:spChg>
        <pc:picChg chg="mod">
          <ac:chgData name="Hasan Hüseyin Akhuy" userId="S::hasan_hueseyin.akhuy@cs.reutlingen-university.de::68465b0a-62d3-41fa-9b1c-522b80e65110" providerId="AD" clId="Web-{FE03D332-CB6E-4DF5-9B71-45ED904CB679}" dt="2020-06-30T13:43:33.933" v="0" actId="14100"/>
          <ac:picMkLst>
            <pc:docMk/>
            <pc:sldMk cId="4039081636" sldId="401"/>
            <ac:picMk id="3" creationId="{A28B2C66-02D6-4D16-94F1-1FB6B7E2C9BC}"/>
          </ac:picMkLst>
        </pc:picChg>
        <pc:picChg chg="mod">
          <ac:chgData name="Hasan Hüseyin Akhuy" userId="S::hasan_hueseyin.akhuy@cs.reutlingen-university.de::68465b0a-62d3-41fa-9b1c-522b80e65110" providerId="AD" clId="Web-{FE03D332-CB6E-4DF5-9B71-45ED904CB679}" dt="2020-06-30T13:43:59.496" v="9" actId="14100"/>
          <ac:picMkLst>
            <pc:docMk/>
            <pc:sldMk cId="4039081636" sldId="401"/>
            <ac:picMk id="8" creationId="{FAA50AAB-2234-4CB8-B82F-ADC2215A1E13}"/>
          </ac:picMkLst>
        </pc:picChg>
        <pc:picChg chg="mod">
          <ac:chgData name="Hasan Hüseyin Akhuy" userId="S::hasan_hueseyin.akhuy@cs.reutlingen-university.de::68465b0a-62d3-41fa-9b1c-522b80e65110" providerId="AD" clId="Web-{FE03D332-CB6E-4DF5-9B71-45ED904CB679}" dt="2020-06-30T13:44:05.668" v="11" actId="1076"/>
          <ac:picMkLst>
            <pc:docMk/>
            <pc:sldMk cId="4039081636" sldId="401"/>
            <ac:picMk id="11" creationId="{1505F300-92C0-46F4-AD26-F3AFC19CB47D}"/>
          </ac:picMkLst>
        </pc:picChg>
      </pc:sldChg>
    </pc:docChg>
  </pc:docChgLst>
  <pc:docChgLst>
    <pc:chgData name="Hasan Hüseyin Akhuy" userId="S::hasan_hueseyin.akhuy@cs.reutlingen-university.de::68465b0a-62d3-41fa-9b1c-522b80e65110" providerId="AD" clId="Web-{F622154E-3A69-4836-86B6-7366F059A692}"/>
    <pc:docChg chg="modSld">
      <pc:chgData name="Hasan Hüseyin Akhuy" userId="S::hasan_hueseyin.akhuy@cs.reutlingen-university.de::68465b0a-62d3-41fa-9b1c-522b80e65110" providerId="AD" clId="Web-{F622154E-3A69-4836-86B6-7366F059A692}" dt="2020-06-30T13:15:37.566" v="21" actId="20577"/>
      <pc:docMkLst>
        <pc:docMk/>
      </pc:docMkLst>
      <pc:sldChg chg="modSp">
        <pc:chgData name="Hasan Hüseyin Akhuy" userId="S::hasan_hueseyin.akhuy@cs.reutlingen-university.de::68465b0a-62d3-41fa-9b1c-522b80e65110" providerId="AD" clId="Web-{F622154E-3A69-4836-86B6-7366F059A692}" dt="2020-06-30T13:15:37.566" v="20" actId="20577"/>
        <pc:sldMkLst>
          <pc:docMk/>
          <pc:sldMk cId="2807434826" sldId="399"/>
        </pc:sldMkLst>
        <pc:spChg chg="mod">
          <ac:chgData name="Hasan Hüseyin Akhuy" userId="S::hasan_hueseyin.akhuy@cs.reutlingen-university.de::68465b0a-62d3-41fa-9b1c-522b80e65110" providerId="AD" clId="Web-{F622154E-3A69-4836-86B6-7366F059A692}" dt="2020-06-30T13:15:37.566" v="20" actId="20577"/>
          <ac:spMkLst>
            <pc:docMk/>
            <pc:sldMk cId="2807434826" sldId="399"/>
            <ac:spMk id="22" creationId="{D05A2CC0-3B5E-4930-B410-CFB2153B4358}"/>
          </ac:spMkLst>
        </pc:spChg>
      </pc:sldChg>
    </pc:docChg>
  </pc:docChgLst>
  <pc:docChgLst>
    <pc:chgData name="Benjamin Traub" userId="528a6849-31f6-42b8-b107-8495eb903d81" providerId="ADAL" clId="{AA8EF07B-228D-4D57-AEC0-91BB15959A92}"/>
    <pc:docChg chg="modSld">
      <pc:chgData name="Benjamin Traub" userId="528a6849-31f6-42b8-b107-8495eb903d81" providerId="ADAL" clId="{AA8EF07B-228D-4D57-AEC0-91BB15959A92}" dt="2020-06-30T13:54:01.002" v="59" actId="1076"/>
      <pc:docMkLst>
        <pc:docMk/>
      </pc:docMkLst>
      <pc:sldChg chg="modSp mod">
        <pc:chgData name="Benjamin Traub" userId="528a6849-31f6-42b8-b107-8495eb903d81" providerId="ADAL" clId="{AA8EF07B-228D-4D57-AEC0-91BB15959A92}" dt="2020-06-30T13:53:01.880" v="58" actId="1076"/>
        <pc:sldMkLst>
          <pc:docMk/>
          <pc:sldMk cId="2807434826" sldId="399"/>
        </pc:sldMkLst>
        <pc:spChg chg="mod">
          <ac:chgData name="Benjamin Traub" userId="528a6849-31f6-42b8-b107-8495eb903d81" providerId="ADAL" clId="{AA8EF07B-228D-4D57-AEC0-91BB15959A92}" dt="2020-06-30T13:52:53.858" v="55" actId="403"/>
          <ac:spMkLst>
            <pc:docMk/>
            <pc:sldMk cId="2807434826" sldId="399"/>
            <ac:spMk id="17" creationId="{F2E236F1-EED7-4FC8-BC87-340743886F8B}"/>
          </ac:spMkLst>
        </pc:spChg>
        <pc:spChg chg="mod">
          <ac:chgData name="Benjamin Traub" userId="528a6849-31f6-42b8-b107-8495eb903d81" providerId="ADAL" clId="{AA8EF07B-228D-4D57-AEC0-91BB15959A92}" dt="2020-06-30T13:52:26.272" v="47" actId="404"/>
          <ac:spMkLst>
            <pc:docMk/>
            <pc:sldMk cId="2807434826" sldId="399"/>
            <ac:spMk id="22" creationId="{D05A2CC0-3B5E-4930-B410-CFB2153B4358}"/>
          </ac:spMkLst>
        </pc:spChg>
        <pc:picChg chg="mod">
          <ac:chgData name="Benjamin Traub" userId="528a6849-31f6-42b8-b107-8495eb903d81" providerId="ADAL" clId="{AA8EF07B-228D-4D57-AEC0-91BB15959A92}" dt="2020-06-30T13:53:01.880" v="58" actId="1076"/>
          <ac:picMkLst>
            <pc:docMk/>
            <pc:sldMk cId="2807434826" sldId="399"/>
            <ac:picMk id="34" creationId="{963D41AB-70ED-4484-8C17-F9190ABF13A7}"/>
          </ac:picMkLst>
        </pc:picChg>
        <pc:picChg chg="mod">
          <ac:chgData name="Benjamin Traub" userId="528a6849-31f6-42b8-b107-8495eb903d81" providerId="ADAL" clId="{AA8EF07B-228D-4D57-AEC0-91BB15959A92}" dt="2020-06-30T13:52:42.133" v="51" actId="14100"/>
          <ac:picMkLst>
            <pc:docMk/>
            <pc:sldMk cId="2807434826" sldId="399"/>
            <ac:picMk id="37" creationId="{DB7FAD9F-00AF-4942-A145-182B8691A4E5}"/>
          </ac:picMkLst>
        </pc:picChg>
      </pc:sldChg>
      <pc:sldChg chg="modSp mod">
        <pc:chgData name="Benjamin Traub" userId="528a6849-31f6-42b8-b107-8495eb903d81" providerId="ADAL" clId="{AA8EF07B-228D-4D57-AEC0-91BB15959A92}" dt="2020-06-30T13:54:01.002" v="59" actId="1076"/>
        <pc:sldMkLst>
          <pc:docMk/>
          <pc:sldMk cId="751245212" sldId="400"/>
        </pc:sldMkLst>
        <pc:spChg chg="mod">
          <ac:chgData name="Benjamin Traub" userId="528a6849-31f6-42b8-b107-8495eb903d81" providerId="ADAL" clId="{AA8EF07B-228D-4D57-AEC0-91BB15959A92}" dt="2020-06-30T13:54:01.002" v="59" actId="1076"/>
          <ac:spMkLst>
            <pc:docMk/>
            <pc:sldMk cId="751245212" sldId="400"/>
            <ac:spMk id="10" creationId="{78C059F6-D5DB-4455-992B-E7295C432676}"/>
          </ac:spMkLst>
        </pc:spChg>
      </pc:sldChg>
    </pc:docChg>
  </pc:docChgLst>
  <pc:docChgLst>
    <pc:chgData name="Akin Kücük" userId="032c24aeaf5b4b3c" providerId="LiveId" clId="{C835C8EC-14B4-44FC-BE85-D9E02D376599}"/>
    <pc:docChg chg="custSel addSld modSld sldOrd">
      <pc:chgData name="Akin Kücük" userId="032c24aeaf5b4b3c" providerId="LiveId" clId="{C835C8EC-14B4-44FC-BE85-D9E02D376599}" dt="2020-03-13T08:13:52.942" v="300" actId="27636"/>
      <pc:docMkLst>
        <pc:docMk/>
      </pc:docMkLst>
      <pc:sldChg chg="delSp mod">
        <pc:chgData name="Akin Kücük" userId="032c24aeaf5b4b3c" providerId="LiveId" clId="{C835C8EC-14B4-44FC-BE85-D9E02D376599}" dt="2020-03-12T22:25:01.915" v="1" actId="478"/>
        <pc:sldMkLst>
          <pc:docMk/>
          <pc:sldMk cId="2094999596" sldId="406"/>
        </pc:sldMkLst>
        <pc:spChg chg="del">
          <ac:chgData name="Akin Kücük" userId="032c24aeaf5b4b3c" providerId="LiveId" clId="{C835C8EC-14B4-44FC-BE85-D9E02D376599}" dt="2020-03-12T22:25:01.915" v="1" actId="478"/>
          <ac:spMkLst>
            <pc:docMk/>
            <pc:sldMk cId="2094999596" sldId="406"/>
            <ac:spMk id="4" creationId="{19FDF0C3-4649-403B-9230-D4A106DA0A8D}"/>
          </ac:spMkLst>
        </pc:spChg>
        <pc:spChg chg="del">
          <ac:chgData name="Akin Kücük" userId="032c24aeaf5b4b3c" providerId="LiveId" clId="{C835C8EC-14B4-44FC-BE85-D9E02D376599}" dt="2020-03-12T22:24:58.484" v="0" actId="478"/>
          <ac:spMkLst>
            <pc:docMk/>
            <pc:sldMk cId="2094999596" sldId="406"/>
            <ac:spMk id="5" creationId="{B1BA8EDB-06F0-412A-BA47-47FBDE005CF2}"/>
          </ac:spMkLst>
        </pc:spChg>
      </pc:sldChg>
      <pc:sldChg chg="addSp delSp modSp add mod ord">
        <pc:chgData name="Akin Kücük" userId="032c24aeaf5b4b3c" providerId="LiveId" clId="{C835C8EC-14B4-44FC-BE85-D9E02D376599}" dt="2020-03-13T08:13:52.942" v="300" actId="27636"/>
        <pc:sldMkLst>
          <pc:docMk/>
          <pc:sldMk cId="3717993447" sldId="408"/>
        </pc:sldMkLst>
        <pc:spChg chg="del">
          <ac:chgData name="Akin Kücük" userId="032c24aeaf5b4b3c" providerId="LiveId" clId="{C835C8EC-14B4-44FC-BE85-D9E02D376599}" dt="2020-03-13T08:11:57.669" v="5" actId="478"/>
          <ac:spMkLst>
            <pc:docMk/>
            <pc:sldMk cId="3717993447" sldId="408"/>
            <ac:spMk id="2" creationId="{8AD71C9C-892C-4FA0-AD36-909AB3343614}"/>
          </ac:spMkLst>
        </pc:spChg>
        <pc:spChg chg="mod">
          <ac:chgData name="Akin Kücük" userId="032c24aeaf5b4b3c" providerId="LiveId" clId="{C835C8EC-14B4-44FC-BE85-D9E02D376599}" dt="2020-03-13T08:13:52.942" v="300" actId="27636"/>
          <ac:spMkLst>
            <pc:docMk/>
            <pc:sldMk cId="3717993447" sldId="408"/>
            <ac:spMk id="3" creationId="{53D3E824-DC22-474A-8EAB-0EE8772C3388}"/>
          </ac:spMkLst>
        </pc:spChg>
        <pc:spChg chg="add del mod">
          <ac:chgData name="Akin Kücük" userId="032c24aeaf5b4b3c" providerId="LiveId" clId="{C835C8EC-14B4-44FC-BE85-D9E02D376599}" dt="2020-03-13T08:12:22.860" v="6" actId="478"/>
          <ac:spMkLst>
            <pc:docMk/>
            <pc:sldMk cId="3717993447" sldId="408"/>
            <ac:spMk id="7" creationId="{06765DF5-CE8A-4ECA-B6BA-17ACBFD25230}"/>
          </ac:spMkLst>
        </pc:spChg>
      </pc:sldChg>
    </pc:docChg>
  </pc:docChgLst>
  <pc:docChgLst>
    <pc:chgData name="Hasan Hüseyin Akhuy" userId="S::hasan_hueseyin.akhuy@cs.reutlingen-university.de::68465b0a-62d3-41fa-9b1c-522b80e65110" providerId="AD" clId="Web-{7383BC50-C2B8-42A2-8CC6-CAF4F08B8230}"/>
    <pc:docChg chg="modSld">
      <pc:chgData name="Hasan Hüseyin Akhuy" userId="S::hasan_hueseyin.akhuy@cs.reutlingen-university.de::68465b0a-62d3-41fa-9b1c-522b80e65110" providerId="AD" clId="Web-{7383BC50-C2B8-42A2-8CC6-CAF4F08B8230}" dt="2020-06-30T13:18:06.789" v="58" actId="20577"/>
      <pc:docMkLst>
        <pc:docMk/>
      </pc:docMkLst>
      <pc:sldChg chg="modSp">
        <pc:chgData name="Hasan Hüseyin Akhuy" userId="S::hasan_hueseyin.akhuy@cs.reutlingen-university.de::68465b0a-62d3-41fa-9b1c-522b80e65110" providerId="AD" clId="Web-{7383BC50-C2B8-42A2-8CC6-CAF4F08B8230}" dt="2020-06-30T13:18:06.789" v="57" actId="20577"/>
        <pc:sldMkLst>
          <pc:docMk/>
          <pc:sldMk cId="2807434826" sldId="399"/>
        </pc:sldMkLst>
        <pc:spChg chg="mod">
          <ac:chgData name="Hasan Hüseyin Akhuy" userId="S::hasan_hueseyin.akhuy@cs.reutlingen-university.de::68465b0a-62d3-41fa-9b1c-522b80e65110" providerId="AD" clId="Web-{7383BC50-C2B8-42A2-8CC6-CAF4F08B8230}" dt="2020-06-30T13:18:06.789" v="57" actId="20577"/>
          <ac:spMkLst>
            <pc:docMk/>
            <pc:sldMk cId="2807434826" sldId="399"/>
            <ac:spMk id="22" creationId="{D05A2CC0-3B5E-4930-B410-CFB2153B4358}"/>
          </ac:spMkLst>
        </pc:spChg>
      </pc:sldChg>
    </pc:docChg>
  </pc:docChgLst>
  <pc:docChgLst>
    <pc:chgData name="Hasan Hüseyin Akhuy" userId="S::hasan_hueseyin.akhuy@cs.reutlingen-university.de::68465b0a-62d3-41fa-9b1c-522b80e65110" providerId="AD" clId="Web-{1C1E87A9-38D4-40A7-9EF6-69F6B70DE469}"/>
    <pc:docChg chg="modSld">
      <pc:chgData name="Hasan Hüseyin Akhuy" userId="S::hasan_hueseyin.akhuy@cs.reutlingen-university.de::68465b0a-62d3-41fa-9b1c-522b80e65110" providerId="AD" clId="Web-{1C1E87A9-38D4-40A7-9EF6-69F6B70DE469}" dt="2020-06-30T13:32:15.475" v="4" actId="1076"/>
      <pc:docMkLst>
        <pc:docMk/>
      </pc:docMkLst>
      <pc:sldChg chg="addSp delSp modSp">
        <pc:chgData name="Hasan Hüseyin Akhuy" userId="S::hasan_hueseyin.akhuy@cs.reutlingen-university.de::68465b0a-62d3-41fa-9b1c-522b80e65110" providerId="AD" clId="Web-{1C1E87A9-38D4-40A7-9EF6-69F6B70DE469}" dt="2020-06-30T13:32:15.475" v="4" actId="1076"/>
        <pc:sldMkLst>
          <pc:docMk/>
          <pc:sldMk cId="4039081636" sldId="401"/>
        </pc:sldMkLst>
        <pc:picChg chg="add mod">
          <ac:chgData name="Hasan Hüseyin Akhuy" userId="S::hasan_hueseyin.akhuy@cs.reutlingen-university.de::68465b0a-62d3-41fa-9b1c-522b80e65110" providerId="AD" clId="Web-{1C1E87A9-38D4-40A7-9EF6-69F6B70DE469}" dt="2020-06-30T13:32:15.475" v="4" actId="1076"/>
          <ac:picMkLst>
            <pc:docMk/>
            <pc:sldMk cId="4039081636" sldId="401"/>
            <ac:picMk id="3" creationId="{A28B2C66-02D6-4D16-94F1-1FB6B7E2C9BC}"/>
          </ac:picMkLst>
        </pc:picChg>
        <pc:picChg chg="del">
          <ac:chgData name="Hasan Hüseyin Akhuy" userId="S::hasan_hueseyin.akhuy@cs.reutlingen-university.de::68465b0a-62d3-41fa-9b1c-522b80e65110" providerId="AD" clId="Web-{1C1E87A9-38D4-40A7-9EF6-69F6B70DE469}" dt="2020-06-30T13:32:00.974" v="0"/>
          <ac:picMkLst>
            <pc:docMk/>
            <pc:sldMk cId="4039081636" sldId="401"/>
            <ac:picMk id="10" creationId="{26DAD11B-2DCD-4F9A-9F68-2E8F8F0177BA}"/>
          </ac:picMkLst>
        </pc:picChg>
      </pc:sldChg>
    </pc:docChg>
  </pc:docChgLst>
  <pc:docChgLst>
    <pc:chgData name="Hasan Hüseyin Akhuy" userId="S::hasan_hueseyin.akhuy@cs.reutlingen-university.de::68465b0a-62d3-41fa-9b1c-522b80e65110" providerId="AD" clId="Web-{FBDD48D2-87C7-42D7-974D-6E4165A881E6}"/>
    <pc:docChg chg="modSld">
      <pc:chgData name="Hasan Hüseyin Akhuy" userId="S::hasan_hueseyin.akhuy@cs.reutlingen-university.de::68465b0a-62d3-41fa-9b1c-522b80e65110" providerId="AD" clId="Web-{FBDD48D2-87C7-42D7-974D-6E4165A881E6}" dt="2020-06-30T13:33:53.452" v="4"/>
      <pc:docMkLst>
        <pc:docMk/>
      </pc:docMkLst>
      <pc:sldChg chg="addSp delSp modSp">
        <pc:chgData name="Hasan Hüseyin Akhuy" userId="S::hasan_hueseyin.akhuy@cs.reutlingen-university.de::68465b0a-62d3-41fa-9b1c-522b80e65110" providerId="AD" clId="Web-{FBDD48D2-87C7-42D7-974D-6E4165A881E6}" dt="2020-06-30T13:33:53.452" v="4"/>
        <pc:sldMkLst>
          <pc:docMk/>
          <pc:sldMk cId="4039081636" sldId="401"/>
        </pc:sldMkLst>
        <pc:spChg chg="mod">
          <ac:chgData name="Hasan Hüseyin Akhuy" userId="S::hasan_hueseyin.akhuy@cs.reutlingen-university.de::68465b0a-62d3-41fa-9b1c-522b80e65110" providerId="AD" clId="Web-{FBDD48D2-87C7-42D7-974D-6E4165A881E6}" dt="2020-06-30T13:33:31.905" v="2" actId="1076"/>
          <ac:spMkLst>
            <pc:docMk/>
            <pc:sldMk cId="4039081636" sldId="401"/>
            <ac:spMk id="23" creationId="{ACD8190C-78E8-472B-9695-72723B477D46}"/>
          </ac:spMkLst>
        </pc:spChg>
        <pc:picChg chg="add del mod">
          <ac:chgData name="Hasan Hüseyin Akhuy" userId="S::hasan_hueseyin.akhuy@cs.reutlingen-university.de::68465b0a-62d3-41fa-9b1c-522b80e65110" providerId="AD" clId="Web-{FBDD48D2-87C7-42D7-974D-6E4165A881E6}" dt="2020-06-30T13:33:53.452" v="4"/>
          <ac:picMkLst>
            <pc:docMk/>
            <pc:sldMk cId="4039081636" sldId="401"/>
            <ac:picMk id="5" creationId="{4CF8846A-D94E-4411-98D6-AEBE567CE6B1}"/>
          </ac:picMkLst>
        </pc:picChg>
        <pc:picChg chg="mod">
          <ac:chgData name="Hasan Hüseyin Akhuy" userId="S::hasan_hueseyin.akhuy@cs.reutlingen-university.de::68465b0a-62d3-41fa-9b1c-522b80e65110" providerId="AD" clId="Web-{FBDD48D2-87C7-42D7-974D-6E4165A881E6}" dt="2020-06-30T13:33:26.577" v="1" actId="1076"/>
          <ac:picMkLst>
            <pc:docMk/>
            <pc:sldMk cId="4039081636" sldId="401"/>
            <ac:picMk id="11" creationId="{1505F300-92C0-46F4-AD26-F3AFC19CB47D}"/>
          </ac:picMkLst>
        </pc:picChg>
      </pc:sldChg>
    </pc:docChg>
  </pc:docChgLst>
  <pc:docChgLst>
    <pc:chgData name="Akin Kücük" userId="S::akin.kuecuek@cs.reutlingen-university.de::bbfaa765-98e8-4775-b718-3bd4ddfcee92" providerId="AD" clId="Web-{5B4F87EE-076C-4A77-B564-08A3087B7AF7}"/>
    <pc:docChg chg="modSld">
      <pc:chgData name="Akin Kücük" userId="S::akin.kuecuek@cs.reutlingen-university.de::bbfaa765-98e8-4775-b718-3bd4ddfcee92" providerId="AD" clId="Web-{5B4F87EE-076C-4A77-B564-08A3087B7AF7}" dt="2020-06-30T16:37:15.404" v="1" actId="1076"/>
      <pc:docMkLst>
        <pc:docMk/>
      </pc:docMkLst>
      <pc:sldChg chg="modSp">
        <pc:chgData name="Akin Kücük" userId="S::akin.kuecuek@cs.reutlingen-university.de::bbfaa765-98e8-4775-b718-3bd4ddfcee92" providerId="AD" clId="Web-{5B4F87EE-076C-4A77-B564-08A3087B7AF7}" dt="2020-06-30T16:37:15.404" v="1" actId="1076"/>
        <pc:sldMkLst>
          <pc:docMk/>
          <pc:sldMk cId="2807434826" sldId="399"/>
        </pc:sldMkLst>
        <pc:spChg chg="mod">
          <ac:chgData name="Akin Kücük" userId="S::akin.kuecuek@cs.reutlingen-university.de::bbfaa765-98e8-4775-b718-3bd4ddfcee92" providerId="AD" clId="Web-{5B4F87EE-076C-4A77-B564-08A3087B7AF7}" dt="2020-06-30T16:37:15.404" v="1" actId="1076"/>
          <ac:spMkLst>
            <pc:docMk/>
            <pc:sldMk cId="2807434826" sldId="399"/>
            <ac:spMk id="30" creationId="{F0C8C58F-DC5B-4A67-8F5E-BFE19EEBC108}"/>
          </ac:spMkLst>
        </pc:spChg>
      </pc:sldChg>
    </pc:docChg>
  </pc:docChgLst>
  <pc:docChgLst>
    <pc:chgData name="Hasan Hüseyin Akhuy" userId="S::hasan_hueseyin.akhuy@cs.reutlingen-university.de::68465b0a-62d3-41fa-9b1c-522b80e65110" providerId="AD" clId="Web-{BF2CDA67-C5AB-4434-AD92-F8B4B1511F00}"/>
    <pc:docChg chg="modSld">
      <pc:chgData name="Hasan Hüseyin Akhuy" userId="S::hasan_hueseyin.akhuy@cs.reutlingen-university.de::68465b0a-62d3-41fa-9b1c-522b80e65110" providerId="AD" clId="Web-{BF2CDA67-C5AB-4434-AD92-F8B4B1511F00}" dt="2020-06-30T13:42:16.299" v="152" actId="20577"/>
      <pc:docMkLst>
        <pc:docMk/>
      </pc:docMkLst>
      <pc:sldChg chg="addSp delSp modSp">
        <pc:chgData name="Hasan Hüseyin Akhuy" userId="S::hasan_hueseyin.akhuy@cs.reutlingen-university.de::68465b0a-62d3-41fa-9b1c-522b80e65110" providerId="AD" clId="Web-{BF2CDA67-C5AB-4434-AD92-F8B4B1511F00}" dt="2020-06-30T13:42:15.393" v="150" actId="20577"/>
        <pc:sldMkLst>
          <pc:docMk/>
          <pc:sldMk cId="4039081636" sldId="401"/>
        </pc:sldMkLst>
        <pc:spChg chg="mod ord">
          <ac:chgData name="Hasan Hüseyin Akhuy" userId="S::hasan_hueseyin.akhuy@cs.reutlingen-university.de::68465b0a-62d3-41fa-9b1c-522b80e65110" providerId="AD" clId="Web-{BF2CDA67-C5AB-4434-AD92-F8B4B1511F00}" dt="2020-06-30T13:40:16.688" v="90" actId="14100"/>
          <ac:spMkLst>
            <pc:docMk/>
            <pc:sldMk cId="4039081636" sldId="401"/>
            <ac:spMk id="2" creationId="{4AEF5935-BD2F-4356-A016-7BAD57FD6672}"/>
          </ac:spMkLst>
        </pc:spChg>
        <pc:spChg chg="add ord">
          <ac:chgData name="Hasan Hüseyin Akhuy" userId="S::hasan_hueseyin.akhuy@cs.reutlingen-university.de::68465b0a-62d3-41fa-9b1c-522b80e65110" providerId="AD" clId="Web-{BF2CDA67-C5AB-4434-AD92-F8B4B1511F00}" dt="2020-06-30T13:38:41.844" v="65"/>
          <ac:spMkLst>
            <pc:docMk/>
            <pc:sldMk cId="4039081636" sldId="401"/>
            <ac:spMk id="12" creationId="{AF78A2F4-A22D-407E-818D-B3F42DB8975F}"/>
          </ac:spMkLst>
        </pc:spChg>
        <pc:spChg chg="add mod ord">
          <ac:chgData name="Hasan Hüseyin Akhuy" userId="S::hasan_hueseyin.akhuy@cs.reutlingen-university.de::68465b0a-62d3-41fa-9b1c-522b80e65110" providerId="AD" clId="Web-{BF2CDA67-C5AB-4434-AD92-F8B4B1511F00}" dt="2020-06-30T13:39:07.516" v="75" actId="1076"/>
          <ac:spMkLst>
            <pc:docMk/>
            <pc:sldMk cId="4039081636" sldId="401"/>
            <ac:spMk id="21" creationId="{1830ECE3-1DD6-4467-AB40-6C59A14CE942}"/>
          </ac:spMkLst>
        </pc:spChg>
        <pc:spChg chg="del mod">
          <ac:chgData name="Hasan Hüseyin Akhuy" userId="S::hasan_hueseyin.akhuy@cs.reutlingen-university.de::68465b0a-62d3-41fa-9b1c-522b80e65110" providerId="AD" clId="Web-{BF2CDA67-C5AB-4434-AD92-F8B4B1511F00}" dt="2020-06-30T13:36:48.280" v="42"/>
          <ac:spMkLst>
            <pc:docMk/>
            <pc:sldMk cId="4039081636" sldId="401"/>
            <ac:spMk id="23" creationId="{ACD8190C-78E8-472B-9695-72723B477D46}"/>
          </ac:spMkLst>
        </pc:spChg>
        <pc:spChg chg="del">
          <ac:chgData name="Hasan Hüseyin Akhuy" userId="S::hasan_hueseyin.akhuy@cs.reutlingen-university.de::68465b0a-62d3-41fa-9b1c-522b80e65110" providerId="AD" clId="Web-{BF2CDA67-C5AB-4434-AD92-F8B4B1511F00}" dt="2020-06-30T13:34:33.840" v="7"/>
          <ac:spMkLst>
            <pc:docMk/>
            <pc:sldMk cId="4039081636" sldId="401"/>
            <ac:spMk id="24" creationId="{75E98041-4A56-451A-ABBB-2BBCC8781006}"/>
          </ac:spMkLst>
        </pc:spChg>
        <pc:spChg chg="del">
          <ac:chgData name="Hasan Hüseyin Akhuy" userId="S::hasan_hueseyin.akhuy@cs.reutlingen-university.de::68465b0a-62d3-41fa-9b1c-522b80e65110" providerId="AD" clId="Web-{BF2CDA67-C5AB-4434-AD92-F8B4B1511F00}" dt="2020-06-30T13:34:21.965" v="5"/>
          <ac:spMkLst>
            <pc:docMk/>
            <pc:sldMk cId="4039081636" sldId="401"/>
            <ac:spMk id="25" creationId="{C6F0A7F2-86AA-4666-B363-38BF2B8B5276}"/>
          </ac:spMkLst>
        </pc:spChg>
        <pc:spChg chg="add mod">
          <ac:chgData name="Hasan Hüseyin Akhuy" userId="S::hasan_hueseyin.akhuy@cs.reutlingen-university.de::68465b0a-62d3-41fa-9b1c-522b80e65110" providerId="AD" clId="Web-{BF2CDA67-C5AB-4434-AD92-F8B4B1511F00}" dt="2020-06-30T13:42:15.393" v="150" actId="20577"/>
          <ac:spMkLst>
            <pc:docMk/>
            <pc:sldMk cId="4039081636" sldId="401"/>
            <ac:spMk id="29" creationId="{E8F6FF3D-47B4-449E-A935-3A1552EBBBA5}"/>
          </ac:spMkLst>
        </pc:spChg>
        <pc:spChg chg="add del">
          <ac:chgData name="Hasan Hüseyin Akhuy" userId="S::hasan_hueseyin.akhuy@cs.reutlingen-university.de::68465b0a-62d3-41fa-9b1c-522b80e65110" providerId="AD" clId="Web-{BF2CDA67-C5AB-4434-AD92-F8B4B1511F00}" dt="2020-06-30T13:40:48.392" v="95"/>
          <ac:spMkLst>
            <pc:docMk/>
            <pc:sldMk cId="4039081636" sldId="401"/>
            <ac:spMk id="30" creationId="{1AFB3923-BF00-4D19-82CA-988622C7FC32}"/>
          </ac:spMkLst>
        </pc:spChg>
        <pc:spChg chg="add del">
          <ac:chgData name="Hasan Hüseyin Akhuy" userId="S::hasan_hueseyin.akhuy@cs.reutlingen-university.de::68465b0a-62d3-41fa-9b1c-522b80e65110" providerId="AD" clId="Web-{BF2CDA67-C5AB-4434-AD92-F8B4B1511F00}" dt="2020-06-30T13:40:46.783" v="94"/>
          <ac:spMkLst>
            <pc:docMk/>
            <pc:sldMk cId="4039081636" sldId="401"/>
            <ac:spMk id="31" creationId="{52D75ACB-52F8-4AB2-A7B1-1175209AF7F1}"/>
          </ac:spMkLst>
        </pc:spChg>
        <pc:spChg chg="add mod">
          <ac:chgData name="Hasan Hüseyin Akhuy" userId="S::hasan_hueseyin.akhuy@cs.reutlingen-university.de::68465b0a-62d3-41fa-9b1c-522b80e65110" providerId="AD" clId="Web-{BF2CDA67-C5AB-4434-AD92-F8B4B1511F00}" dt="2020-06-30T13:42:04.284" v="147" actId="20577"/>
          <ac:spMkLst>
            <pc:docMk/>
            <pc:sldMk cId="4039081636" sldId="401"/>
            <ac:spMk id="32" creationId="{A308F370-C5FE-4611-8372-2FD831E30BD1}"/>
          </ac:spMkLst>
        </pc:spChg>
        <pc:picChg chg="mod">
          <ac:chgData name="Hasan Hüseyin Akhuy" userId="S::hasan_hueseyin.akhuy@cs.reutlingen-university.de::68465b0a-62d3-41fa-9b1c-522b80e65110" providerId="AD" clId="Web-{BF2CDA67-C5AB-4434-AD92-F8B4B1511F00}" dt="2020-06-30T13:39:44.797" v="84" actId="1076"/>
          <ac:picMkLst>
            <pc:docMk/>
            <pc:sldMk cId="4039081636" sldId="401"/>
            <ac:picMk id="3" creationId="{A28B2C66-02D6-4D16-94F1-1FB6B7E2C9BC}"/>
          </ac:picMkLst>
        </pc:picChg>
        <pc:picChg chg="add mod ord">
          <ac:chgData name="Hasan Hüseyin Akhuy" userId="S::hasan_hueseyin.akhuy@cs.reutlingen-university.de::68465b0a-62d3-41fa-9b1c-522b80e65110" providerId="AD" clId="Web-{BF2CDA67-C5AB-4434-AD92-F8B4B1511F00}" dt="2020-06-30T13:39:58.844" v="85" actId="1076"/>
          <ac:picMkLst>
            <pc:docMk/>
            <pc:sldMk cId="4039081636" sldId="401"/>
            <ac:picMk id="5" creationId="{51C6C310-8AF0-448E-A8F9-EAA87204C868}"/>
          </ac:picMkLst>
        </pc:picChg>
        <pc:picChg chg="add mod">
          <ac:chgData name="Hasan Hüseyin Akhuy" userId="S::hasan_hueseyin.akhuy@cs.reutlingen-university.de::68465b0a-62d3-41fa-9b1c-522b80e65110" providerId="AD" clId="Web-{BF2CDA67-C5AB-4434-AD92-F8B4B1511F00}" dt="2020-06-30T13:40:01.954" v="88" actId="1076"/>
          <ac:picMkLst>
            <pc:docMk/>
            <pc:sldMk cId="4039081636" sldId="401"/>
            <ac:picMk id="8" creationId="{FAA50AAB-2234-4CB8-B82F-ADC2215A1E13}"/>
          </ac:picMkLst>
        </pc:picChg>
        <pc:picChg chg="mod">
          <ac:chgData name="Hasan Hüseyin Akhuy" userId="S::hasan_hueseyin.akhuy@cs.reutlingen-university.de::68465b0a-62d3-41fa-9b1c-522b80e65110" providerId="AD" clId="Web-{BF2CDA67-C5AB-4434-AD92-F8B4B1511F00}" dt="2020-06-30T13:39:58.860" v="86" actId="1076"/>
          <ac:picMkLst>
            <pc:docMk/>
            <pc:sldMk cId="4039081636" sldId="401"/>
            <ac:picMk id="11" creationId="{1505F300-92C0-46F4-AD26-F3AFC19CB47D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3.434" v="0"/>
          <ac:picMkLst>
            <pc:docMk/>
            <pc:sldMk cId="4039081636" sldId="401"/>
            <ac:picMk id="13" creationId="{949333EB-C264-4665-BC7C-6B6C5756E67D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4"/>
          <ac:picMkLst>
            <pc:docMk/>
            <pc:sldMk cId="4039081636" sldId="401"/>
            <ac:picMk id="14" creationId="{3CF6DF9F-DD36-4708-A466-4F880BE89F12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3"/>
          <ac:picMkLst>
            <pc:docMk/>
            <pc:sldMk cId="4039081636" sldId="401"/>
            <ac:picMk id="15" creationId="{8D86F73A-A7C7-4832-A1D3-144E05816D6B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2"/>
          <ac:picMkLst>
            <pc:docMk/>
            <pc:sldMk cId="4039081636" sldId="401"/>
            <ac:picMk id="16" creationId="{D2632BE7-0B68-4D55-AEE5-962C9CD89153}"/>
          </ac:picMkLst>
        </pc:picChg>
        <pc:picChg chg="del">
          <ac:chgData name="Hasan Hüseyin Akhuy" userId="S::hasan_hueseyin.akhuy@cs.reutlingen-university.de::68465b0a-62d3-41fa-9b1c-522b80e65110" providerId="AD" clId="Web-{BF2CDA67-C5AB-4434-AD92-F8B4B1511F00}" dt="2020-06-30T13:34:17.950" v="1"/>
          <ac:picMkLst>
            <pc:docMk/>
            <pc:sldMk cId="4039081636" sldId="401"/>
            <ac:picMk id="17" creationId="{5FD5D802-E364-4886-B255-70EB266C958F}"/>
          </ac:picMkLst>
        </pc:picChg>
        <pc:cxnChg chg="del">
          <ac:chgData name="Hasan Hüseyin Akhuy" userId="S::hasan_hueseyin.akhuy@cs.reutlingen-university.de::68465b0a-62d3-41fa-9b1c-522b80e65110" providerId="AD" clId="Web-{BF2CDA67-C5AB-4434-AD92-F8B4B1511F00}" dt="2020-06-30T13:34:53.669" v="17"/>
          <ac:cxnSpMkLst>
            <pc:docMk/>
            <pc:sldMk cId="4039081636" sldId="401"/>
            <ac:cxnSpMk id="6" creationId="{BE7981F6-099A-4DEE-B23B-E3CEA58E7C70}"/>
          </ac:cxnSpMkLst>
        </pc:cxnChg>
        <pc:cxnChg chg="add mod">
          <ac:chgData name="Hasan Hüseyin Akhuy" userId="S::hasan_hueseyin.akhuy@cs.reutlingen-university.de::68465b0a-62d3-41fa-9b1c-522b80e65110" providerId="AD" clId="Web-{BF2CDA67-C5AB-4434-AD92-F8B4B1511F00}" dt="2020-06-30T13:39:27.282" v="78" actId="14100"/>
          <ac:cxnSpMkLst>
            <pc:docMk/>
            <pc:sldMk cId="4039081636" sldId="401"/>
            <ac:cxnSpMk id="7" creationId="{28590934-E53E-41D4-B049-358A68F5AFF5}"/>
          </ac:cxnSpMkLst>
        </pc:cxnChg>
        <pc:cxnChg chg="add del">
          <ac:chgData name="Hasan Hüseyin Akhuy" userId="S::hasan_hueseyin.akhuy@cs.reutlingen-university.de::68465b0a-62d3-41fa-9b1c-522b80e65110" providerId="AD" clId="Web-{BF2CDA67-C5AB-4434-AD92-F8B4B1511F00}" dt="2020-06-30T13:36:32.654" v="36"/>
          <ac:cxnSpMkLst>
            <pc:docMk/>
            <pc:sldMk cId="4039081636" sldId="401"/>
            <ac:cxnSpMk id="9" creationId="{0F8B11CC-DD73-46C4-9308-EA3F6EEC4F43}"/>
          </ac:cxnSpMkLst>
        </pc:cxnChg>
        <pc:cxnChg chg="add del mod">
          <ac:chgData name="Hasan Hüseyin Akhuy" userId="S::hasan_hueseyin.akhuy@cs.reutlingen-university.de::68465b0a-62d3-41fa-9b1c-522b80e65110" providerId="AD" clId="Web-{BF2CDA67-C5AB-4434-AD92-F8B4B1511F00}" dt="2020-06-30T13:38:24.359" v="62"/>
          <ac:cxnSpMkLst>
            <pc:docMk/>
            <pc:sldMk cId="4039081636" sldId="401"/>
            <ac:cxnSpMk id="10" creationId="{FBCC42AB-67D7-4C84-ACB0-FF7D26016FBE}"/>
          </ac:cxnSpMkLst>
        </pc:cxnChg>
        <pc:cxnChg chg="del">
          <ac:chgData name="Hasan Hüseyin Akhuy" userId="S::hasan_hueseyin.akhuy@cs.reutlingen-university.de::68465b0a-62d3-41fa-9b1c-522b80e65110" providerId="AD" clId="Web-{BF2CDA67-C5AB-4434-AD92-F8B4B1511F00}" dt="2020-06-30T13:34:30.872" v="6"/>
          <ac:cxnSpMkLst>
            <pc:docMk/>
            <pc:sldMk cId="4039081636" sldId="401"/>
            <ac:cxnSpMk id="19" creationId="{6B411866-D58C-4B01-8C27-D9A7AA6B111E}"/>
          </ac:cxnSpMkLst>
        </pc:cxnChg>
        <pc:cxnChg chg="del">
          <ac:chgData name="Hasan Hüseyin Akhuy" userId="S::hasan_hueseyin.akhuy@cs.reutlingen-university.de::68465b0a-62d3-41fa-9b1c-522b80e65110" providerId="AD" clId="Web-{BF2CDA67-C5AB-4434-AD92-F8B4B1511F00}" dt="2020-06-30T13:34:33.840" v="8"/>
          <ac:cxnSpMkLst>
            <pc:docMk/>
            <pc:sldMk cId="4039081636" sldId="401"/>
            <ac:cxnSpMk id="22" creationId="{3CF3BBA5-8FF7-423F-BDE5-24F5D124025A}"/>
          </ac:cxnSpMkLst>
        </pc:cxnChg>
        <pc:cxnChg chg="add del mod">
          <ac:chgData name="Hasan Hüseyin Akhuy" userId="S::hasan_hueseyin.akhuy@cs.reutlingen-university.de::68465b0a-62d3-41fa-9b1c-522b80e65110" providerId="AD" clId="Web-{BF2CDA67-C5AB-4434-AD92-F8B4B1511F00}" dt="2020-06-30T13:38:04.140" v="56"/>
          <ac:cxnSpMkLst>
            <pc:docMk/>
            <pc:sldMk cId="4039081636" sldId="401"/>
            <ac:cxnSpMk id="26" creationId="{DA4EBA09-7865-4695-91CE-A0F5C4A43E89}"/>
          </ac:cxnSpMkLst>
        </pc:cxnChg>
      </pc:sldChg>
    </pc:docChg>
  </pc:docChgLst>
  <pc:docChgLst>
    <pc:chgData name="Hasan Hüseyin Akhuy" userId="S::hasan_hueseyin.akhuy@cs.reutlingen-university.de::68465b0a-62d3-41fa-9b1c-522b80e65110" providerId="AD" clId="Web-{B3BC8CDD-F0AF-4411-9826-BF1257034842}"/>
    <pc:docChg chg="modSld">
      <pc:chgData name="Hasan Hüseyin Akhuy" userId="S::hasan_hueseyin.akhuy@cs.reutlingen-university.de::68465b0a-62d3-41fa-9b1c-522b80e65110" providerId="AD" clId="Web-{B3BC8CDD-F0AF-4411-9826-BF1257034842}" dt="2020-06-30T13:27:57.822" v="584" actId="20577"/>
      <pc:docMkLst>
        <pc:docMk/>
      </pc:docMkLst>
      <pc:sldChg chg="modSp">
        <pc:chgData name="Hasan Hüseyin Akhuy" userId="S::hasan_hueseyin.akhuy@cs.reutlingen-university.de::68465b0a-62d3-41fa-9b1c-522b80e65110" providerId="AD" clId="Web-{B3BC8CDD-F0AF-4411-9826-BF1257034842}" dt="2020-06-30T13:26:19.883" v="576" actId="20577"/>
        <pc:sldMkLst>
          <pc:docMk/>
          <pc:sldMk cId="751245212" sldId="400"/>
        </pc:sldMkLst>
        <pc:spChg chg="mod">
          <ac:chgData name="Hasan Hüseyin Akhuy" userId="S::hasan_hueseyin.akhuy@cs.reutlingen-university.de::68465b0a-62d3-41fa-9b1c-522b80e65110" providerId="AD" clId="Web-{B3BC8CDD-F0AF-4411-9826-BF1257034842}" dt="2020-06-30T13:26:19.883" v="576" actId="20577"/>
          <ac:spMkLst>
            <pc:docMk/>
            <pc:sldMk cId="751245212" sldId="400"/>
            <ac:spMk id="10" creationId="{78C059F6-D5DB-4455-992B-E7295C432676}"/>
          </ac:spMkLst>
        </pc:spChg>
      </pc:sldChg>
      <pc:sldChg chg="addSp delSp modSp">
        <pc:chgData name="Hasan Hüseyin Akhuy" userId="S::hasan_hueseyin.akhuy@cs.reutlingen-university.de::68465b0a-62d3-41fa-9b1c-522b80e65110" providerId="AD" clId="Web-{B3BC8CDD-F0AF-4411-9826-BF1257034842}" dt="2020-06-30T13:27:57.822" v="583" actId="20577"/>
        <pc:sldMkLst>
          <pc:docMk/>
          <pc:sldMk cId="4039081636" sldId="401"/>
        </pc:sldMkLst>
        <pc:spChg chg="add del mod">
          <ac:chgData name="Hasan Hüseyin Akhuy" userId="S::hasan_hueseyin.akhuy@cs.reutlingen-university.de::68465b0a-62d3-41fa-9b1c-522b80e65110" providerId="AD" clId="Web-{B3BC8CDD-F0AF-4411-9826-BF1257034842}" dt="2020-06-30T13:26:24.009" v="577"/>
          <ac:spMkLst>
            <pc:docMk/>
            <pc:sldMk cId="4039081636" sldId="401"/>
            <ac:spMk id="9" creationId="{0565B9FF-902D-4D0E-840B-58F68E420B64}"/>
          </ac:spMkLst>
        </pc:spChg>
        <pc:spChg chg="mod">
          <ac:chgData name="Hasan Hüseyin Akhuy" userId="S::hasan_hueseyin.akhuy@cs.reutlingen-university.de::68465b0a-62d3-41fa-9b1c-522b80e65110" providerId="AD" clId="Web-{B3BC8CDD-F0AF-4411-9826-BF1257034842}" dt="2020-06-30T13:27:57.822" v="583" actId="20577"/>
          <ac:spMkLst>
            <pc:docMk/>
            <pc:sldMk cId="4039081636" sldId="401"/>
            <ac:spMk id="25" creationId="{C6F0A7F2-86AA-4666-B363-38BF2B8B5276}"/>
          </ac:spMkLst>
        </pc:spChg>
        <pc:spChg chg="del mod">
          <ac:chgData name="Hasan Hüseyin Akhuy" userId="S::hasan_hueseyin.akhuy@cs.reutlingen-university.de::68465b0a-62d3-41fa-9b1c-522b80e65110" providerId="AD" clId="Web-{B3BC8CDD-F0AF-4411-9826-BF1257034842}" dt="2020-06-30T13:26:30.680" v="579"/>
          <ac:spMkLst>
            <pc:docMk/>
            <pc:sldMk cId="4039081636" sldId="401"/>
            <ac:spMk id="26" creationId="{8E3DBC1F-4EDC-466C-8DE4-FD21E22C27ED}"/>
          </ac:spMkLst>
        </pc:spChg>
        <pc:picChg chg="mod">
          <ac:chgData name="Hasan Hüseyin Akhuy" userId="S::hasan_hueseyin.akhuy@cs.reutlingen-university.de::68465b0a-62d3-41fa-9b1c-522b80e65110" providerId="AD" clId="Web-{B3BC8CDD-F0AF-4411-9826-BF1257034842}" dt="2020-06-30T13:26:34.071" v="580" actId="1076"/>
          <ac:picMkLst>
            <pc:docMk/>
            <pc:sldMk cId="4039081636" sldId="401"/>
            <ac:picMk id="10" creationId="{26DAD11B-2DCD-4F9A-9F68-2E8F8F0177BA}"/>
          </ac:picMkLst>
        </pc:picChg>
        <pc:cxnChg chg="mod">
          <ac:chgData name="Hasan Hüseyin Akhuy" userId="S::hasan_hueseyin.akhuy@cs.reutlingen-university.de::68465b0a-62d3-41fa-9b1c-522b80e65110" providerId="AD" clId="Web-{B3BC8CDD-F0AF-4411-9826-BF1257034842}" dt="2020-06-30T13:26:16.368" v="570" actId="1076"/>
          <ac:cxnSpMkLst>
            <pc:docMk/>
            <pc:sldMk cId="4039081636" sldId="401"/>
            <ac:cxnSpMk id="6" creationId="{BE7981F6-099A-4DEE-B23B-E3CEA58E7C70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ED44CD3C-BD8C-4A3F-8C78-95C2FCD6B956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4684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785" y="1122363"/>
            <a:ext cx="11090245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A575234-C407-4958-851E-7C3C3B3AB0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47565" y="6298470"/>
            <a:ext cx="2404436" cy="480887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3752A2AA-CC9E-4F2F-B74F-0CB8367A02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 descr="PPT_Logo_INF.png">
            <a:extLst>
              <a:ext uri="{FF2B5EF4-FFF2-40B4-BE49-F238E27FC236}">
                <a16:creationId xmlns:a16="http://schemas.microsoft.com/office/drawing/2014/main" id="{3258D09B-0D8A-4155-8F20-5228299F618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119785" y="143720"/>
            <a:ext cx="1924495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8956905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8690433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6950026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1"/>
            <a:ext cx="12192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0AA9352-C6F3-4898-90FC-575CC02FC8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81600" y="6403560"/>
            <a:ext cx="2272200" cy="454440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4E8D3DBA-6072-4D10-9D15-489F57E845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" y="6044096"/>
            <a:ext cx="12192345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55653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122BC9-4DED-4963-A1E3-BA2926D96D73}"/>
              </a:ext>
            </a:extLst>
          </p:cNvPr>
          <p:cNvSpPr txBox="1">
            <a:spLocks/>
          </p:cNvSpPr>
          <p:nvPr userDrawn="1"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6865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0004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9428755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68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685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921109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822654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Picture 2" descr="Bildergebnis für herman hollerith zentrum">
            <a:extLst>
              <a:ext uri="{FF2B5EF4-FFF2-40B4-BE49-F238E27FC236}">
                <a16:creationId xmlns:a16="http://schemas.microsoft.com/office/drawing/2014/main" id="{372157C0-EAD3-4224-A6C7-3B96B4CDAA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45" y="6356351"/>
            <a:ext cx="2945555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1178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icons8.de/icons/set/note" TargetMode="External"/><Relationship Id="rId3" Type="http://schemas.openxmlformats.org/officeDocument/2006/relationships/image" Target="../media/image9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8.png"/><Relationship Id="rId10" Type="http://schemas.microsoft.com/office/2007/relationships/hdphoto" Target="../media/hdphoto1.wdp"/><Relationship Id="rId4" Type="http://schemas.openxmlformats.org/officeDocument/2006/relationships/image" Target="../media/image10.jpeg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1824875" y="1358310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b="1">
                <a:solidFill>
                  <a:schemeClr val="tx1"/>
                </a:solidFill>
              </a:rPr>
              <a:t>IoT Hackathon</a:t>
            </a:r>
            <a:br>
              <a:rPr lang="de-DE" sz="4000" b="1">
                <a:solidFill>
                  <a:schemeClr val="tx1"/>
                </a:solidFill>
              </a:rPr>
            </a:br>
            <a:r>
              <a:rPr lang="de-DE" sz="2800" b="1">
                <a:solidFill>
                  <a:schemeClr val="tx1"/>
                </a:solidFill>
              </a:rPr>
              <a:t>Smart Table </a:t>
            </a:r>
            <a:br>
              <a:rPr lang="de-DE" sz="4000">
                <a:solidFill>
                  <a:schemeClr val="tx1"/>
                </a:solidFill>
              </a:rPr>
            </a:br>
            <a:br>
              <a:rPr lang="de-DE" sz="4000">
                <a:solidFill>
                  <a:schemeClr val="tx1"/>
                </a:solidFill>
              </a:rPr>
            </a:br>
            <a:r>
              <a:rPr lang="de-DE" sz="2000" b="1">
                <a:solidFill>
                  <a:schemeClr val="tx1"/>
                </a:solidFill>
              </a:rPr>
              <a:t>IoT</a:t>
            </a:r>
            <a:br>
              <a:rPr lang="de-DE" sz="2000">
                <a:solidFill>
                  <a:schemeClr val="tx1"/>
                </a:solidFill>
              </a:rPr>
            </a:br>
            <a:r>
              <a:rPr lang="de-DE" sz="2000">
                <a:solidFill>
                  <a:schemeClr val="tx1"/>
                </a:solidFill>
              </a:rPr>
              <a:t>Professor Dr. Christian Decker</a:t>
            </a:r>
            <a:endParaRPr sz="320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1824876" y="4854376"/>
            <a:ext cx="6623907" cy="488859"/>
          </a:xfrm>
        </p:spPr>
        <p:txBody>
          <a:bodyPr>
            <a:normAutofit/>
          </a:bodyPr>
          <a:lstStyle/>
          <a:p>
            <a:pPr algn="l"/>
            <a:r>
              <a:rPr lang="de-DE" sz="1600"/>
              <a:t>Akin Kücük, Benjamin Traub, Fethullah Misir, Hasan Akhuy</a:t>
            </a:r>
          </a:p>
          <a:p>
            <a:pPr algn="l"/>
            <a:endParaRPr lang="de-DE" sz="1100"/>
          </a:p>
        </p:txBody>
      </p:sp>
      <p:sp>
        <p:nvSpPr>
          <p:cNvPr id="5" name="Rectangle 38">
            <a:extLst>
              <a:ext uri="{FF2B5EF4-FFF2-40B4-BE49-F238E27FC236}">
                <a16:creationId xmlns:a16="http://schemas.microsoft.com/office/drawing/2014/main" id="{C601D2BB-D50B-4BE5-857F-B7CE8FD4C19C}"/>
              </a:ext>
            </a:extLst>
          </p:cNvPr>
          <p:cNvSpPr txBox="1">
            <a:spLocks/>
          </p:cNvSpPr>
          <p:nvPr/>
        </p:nvSpPr>
        <p:spPr>
          <a:xfrm>
            <a:off x="6764986" y="4854375"/>
            <a:ext cx="3022862" cy="4888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Aft>
                <a:spcPts val="0"/>
              </a:spcAft>
              <a:buClrTx/>
              <a:buSzTx/>
            </a:pPr>
            <a:r>
              <a:rPr lang="de-DE" sz="1600"/>
              <a:t>30.06.2020</a:t>
            </a:r>
          </a:p>
        </p:txBody>
      </p:sp>
    </p:spTree>
    <p:extLst>
      <p:ext uri="{BB962C8B-B14F-4D97-AF65-F5344CB8AC3E}">
        <p14:creationId xmlns:p14="http://schemas.microsoft.com/office/powerpoint/2010/main" val="3347668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F0C8C58F-DC5B-4A67-8F5E-BFE19EEBC108}"/>
              </a:ext>
            </a:extLst>
          </p:cNvPr>
          <p:cNvSpPr/>
          <p:nvPr/>
        </p:nvSpPr>
        <p:spPr>
          <a:xfrm>
            <a:off x="5631728" y="1445623"/>
            <a:ext cx="6325141" cy="4659083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AEF5935-BD2F-4356-A016-7BAD57FD6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blem – Smart Tabl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0ACA9B-000C-4F1B-9B6A-BD9461907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E7981F6-099A-4DEE-B23B-E3CEA58E7C70}"/>
              </a:ext>
            </a:extLst>
          </p:cNvPr>
          <p:cNvCxnSpPr/>
          <p:nvPr/>
        </p:nvCxnSpPr>
        <p:spPr>
          <a:xfrm>
            <a:off x="0" y="1354015"/>
            <a:ext cx="121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Explosion: 14 Zacken 16">
            <a:extLst>
              <a:ext uri="{FF2B5EF4-FFF2-40B4-BE49-F238E27FC236}">
                <a16:creationId xmlns:a16="http://schemas.microsoft.com/office/drawing/2014/main" id="{F2E236F1-EED7-4FC8-BC87-340743886F8B}"/>
              </a:ext>
            </a:extLst>
          </p:cNvPr>
          <p:cNvSpPr/>
          <p:nvPr/>
        </p:nvSpPr>
        <p:spPr>
          <a:xfrm>
            <a:off x="7944950" y="2771185"/>
            <a:ext cx="1998709" cy="926737"/>
          </a:xfrm>
          <a:prstGeom prst="irregularSeal2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>
                <a:solidFill>
                  <a:srgbClr val="666666"/>
                </a:solidFill>
              </a:rPr>
              <a:t>Medien-bruch</a:t>
            </a:r>
            <a:endParaRPr lang="en-US" sz="1400">
              <a:solidFill>
                <a:srgbClr val="666666"/>
              </a:solidFill>
            </a:endParaRPr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B630282C-0B7D-4C30-BA29-A5D9E756C36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5257800" cy="4194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/>
          </a:p>
        </p:txBody>
      </p:sp>
      <p:sp>
        <p:nvSpPr>
          <p:cNvPr id="22" name="Inhaltsplatzhalter 6">
            <a:extLst>
              <a:ext uri="{FF2B5EF4-FFF2-40B4-BE49-F238E27FC236}">
                <a16:creationId xmlns:a16="http://schemas.microsoft.com/office/drawing/2014/main" id="{D05A2CC0-3B5E-4930-B410-CFB2153B4358}"/>
              </a:ext>
            </a:extLst>
          </p:cNvPr>
          <p:cNvSpPr txBox="1">
            <a:spLocks/>
          </p:cNvSpPr>
          <p:nvPr/>
        </p:nvSpPr>
        <p:spPr>
          <a:xfrm>
            <a:off x="990600" y="1978025"/>
            <a:ext cx="4575110" cy="41940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Übertragung der physischen Aufschriebe in </a:t>
            </a:r>
            <a:r>
              <a:rPr lang="de-DE" sz="2400" err="1"/>
              <a:t>Trello</a:t>
            </a:r>
            <a:endParaRPr lang="de-DE" sz="2400">
              <a:cs typeface="Calibri"/>
            </a:endParaRPr>
          </a:p>
          <a:p>
            <a:endParaRPr lang="de-DE" sz="2400"/>
          </a:p>
          <a:p>
            <a:r>
              <a:rPr lang="de-DE" sz="2400"/>
              <a:t>Manuelle Erstellung eines Tasks</a:t>
            </a:r>
          </a:p>
          <a:p>
            <a:endParaRPr lang="de-DE" sz="2400"/>
          </a:p>
          <a:p>
            <a:r>
              <a:rPr lang="de-DE" sz="2400">
                <a:cs typeface="Calibri"/>
              </a:rPr>
              <a:t>Zusätzlicher Zeitaufwand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635F31CC-C366-497D-AEBA-4C4FCE8812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92764" y="2116778"/>
            <a:ext cx="582074" cy="5628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963D41AB-70ED-4484-8C17-F9190ABF1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1098" y="3771081"/>
            <a:ext cx="2685774" cy="2067727"/>
          </a:xfrm>
          <a:prstGeom prst="rect">
            <a:avLst/>
          </a:prstGeom>
        </p:spPr>
      </p:pic>
      <p:pic>
        <p:nvPicPr>
          <p:cNvPr id="37" name="Picture 15">
            <a:extLst>
              <a:ext uri="{FF2B5EF4-FFF2-40B4-BE49-F238E27FC236}">
                <a16:creationId xmlns:a16="http://schemas.microsoft.com/office/drawing/2014/main" id="{DB7FAD9F-00AF-4942-A145-182B8691A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5863" y="5825765"/>
            <a:ext cx="756244" cy="233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BC59F8A4-A036-4F8C-9F52-7A2532CF0B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45104" y="2116778"/>
            <a:ext cx="582074" cy="5628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5B659D28-DD80-4875-B6C9-6118DF2D87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68201" y="2116778"/>
            <a:ext cx="582074" cy="5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43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A1CCD891-DA79-4A32-81A0-5B8F57E4B43C}"/>
              </a:ext>
            </a:extLst>
          </p:cNvPr>
          <p:cNvSpPr/>
          <p:nvPr/>
        </p:nvSpPr>
        <p:spPr>
          <a:xfrm>
            <a:off x="5631728" y="1445623"/>
            <a:ext cx="6325141" cy="4659083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05BF28-F00C-46FF-A883-F7041DDA8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A31DD5E-327E-47C7-8B61-F8E9485AE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/>
              <a:t>Idee – Smart Tabl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EE8120F1-9750-4D9A-814A-8A4B5CD49420}"/>
              </a:ext>
            </a:extLst>
          </p:cNvPr>
          <p:cNvCxnSpPr/>
          <p:nvPr/>
        </p:nvCxnSpPr>
        <p:spPr>
          <a:xfrm>
            <a:off x="0" y="1354015"/>
            <a:ext cx="121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78C059F6-D5DB-4455-992B-E7295C432676}"/>
              </a:ext>
            </a:extLst>
          </p:cNvPr>
          <p:cNvSpPr txBox="1">
            <a:spLocks/>
          </p:cNvSpPr>
          <p:nvPr/>
        </p:nvSpPr>
        <p:spPr>
          <a:xfrm>
            <a:off x="838200" y="1572672"/>
            <a:ext cx="4587054" cy="419405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Automatische Bilderfassung der physischen Notiz</a:t>
            </a:r>
            <a:endParaRPr lang="de-DE" sz="2400">
              <a:cs typeface="Calibri"/>
            </a:endParaRPr>
          </a:p>
          <a:p>
            <a:endParaRPr lang="de-DE" sz="2400"/>
          </a:p>
          <a:p>
            <a:r>
              <a:rPr lang="de-DE" sz="2400"/>
              <a:t>Vordefinierter Bereich auf dem Arbeitstisch</a:t>
            </a:r>
            <a:endParaRPr lang="de-DE" sz="2400">
              <a:cs typeface="Calibri" panose="020F0502020204030204"/>
            </a:endParaRPr>
          </a:p>
          <a:p>
            <a:endParaRPr lang="de-DE" sz="2400"/>
          </a:p>
          <a:p>
            <a:r>
              <a:rPr lang="de-DE" sz="2400"/>
              <a:t>Transfer der Notiz bei Bewegung</a:t>
            </a:r>
            <a:endParaRPr lang="de-DE" sz="2400">
              <a:cs typeface="Calibri"/>
            </a:endParaRPr>
          </a:p>
          <a:p>
            <a:endParaRPr lang="de-DE" sz="2400"/>
          </a:p>
          <a:p>
            <a:r>
              <a:rPr lang="de-DE" sz="2400"/>
              <a:t>Erstellung neuer Aufgabe in </a:t>
            </a:r>
            <a:r>
              <a:rPr lang="de-DE" sz="2400" err="1"/>
              <a:t>Trello</a:t>
            </a:r>
            <a:r>
              <a:rPr lang="de-DE" sz="2400"/>
              <a:t> mit den Textinhalten aus dem Bild</a:t>
            </a:r>
            <a:endParaRPr lang="de-DE" sz="2400">
              <a:cs typeface="Calibri"/>
            </a:endParaRPr>
          </a:p>
        </p:txBody>
      </p:sp>
      <p:pic>
        <p:nvPicPr>
          <p:cNvPr id="6153" name="Picture 9">
            <a:extLst>
              <a:ext uri="{FF2B5EF4-FFF2-40B4-BE49-F238E27FC236}">
                <a16:creationId xmlns:a16="http://schemas.microsoft.com/office/drawing/2014/main" id="{2EF3E4A7-EE44-4CBA-ACD9-D29ED9DDDE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525" y="2172877"/>
            <a:ext cx="6127660" cy="99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>
            <a:extLst>
              <a:ext uri="{FF2B5EF4-FFF2-40B4-BE49-F238E27FC236}">
                <a16:creationId xmlns:a16="http://schemas.microsoft.com/office/drawing/2014/main" id="{1CB59620-9798-4869-B2DB-B5F208445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5719" y="3878239"/>
            <a:ext cx="802381" cy="6723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9" name="Picture 15">
            <a:extLst>
              <a:ext uri="{FF2B5EF4-FFF2-40B4-BE49-F238E27FC236}">
                <a16:creationId xmlns:a16="http://schemas.microsoft.com/office/drawing/2014/main" id="{6D7F59A8-C0B0-4DA8-B308-23EA3B605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5961" y="4567690"/>
            <a:ext cx="441896" cy="13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13CF68A9-52EA-4C25-AB3C-73FD424A4204}"/>
              </a:ext>
            </a:extLst>
          </p:cNvPr>
          <p:cNvSpPr/>
          <p:nvPr/>
        </p:nvSpPr>
        <p:spPr>
          <a:xfrm>
            <a:off x="6985183" y="3976575"/>
            <a:ext cx="314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rgbClr val="000000"/>
                </a:solidFill>
                <a:latin typeface="Times New Roman" panose="02020603050405020304" pitchFamily="18" charset="0"/>
              </a:rPr>
              <a:t>+</a:t>
            </a:r>
            <a:endParaRPr lang="en-US" b="1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4F5B5BA-5E65-49DC-B286-F39D08B25D6C}"/>
              </a:ext>
            </a:extLst>
          </p:cNvPr>
          <p:cNvSpPr/>
          <p:nvPr/>
        </p:nvSpPr>
        <p:spPr>
          <a:xfrm>
            <a:off x="8532140" y="3976575"/>
            <a:ext cx="3129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/>
              <a:t>=</a:t>
            </a:r>
            <a:endParaRPr lang="en-US" sz="2000" b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7BA6CA8-4AE6-4C6C-B624-A43135E7E9F4}"/>
              </a:ext>
            </a:extLst>
          </p:cNvPr>
          <p:cNvSpPr/>
          <p:nvPr/>
        </p:nvSpPr>
        <p:spPr>
          <a:xfrm>
            <a:off x="10127634" y="3976575"/>
            <a:ext cx="314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>
                <a:solidFill>
                  <a:srgbClr val="000000"/>
                </a:solidFill>
                <a:latin typeface="Times New Roman" panose="02020603050405020304" pitchFamily="18" charset="0"/>
              </a:rPr>
              <a:t>+</a:t>
            </a:r>
            <a:endParaRPr lang="en-US" b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0D926D9-A4D4-4A21-A116-AF79A391D85E}"/>
              </a:ext>
            </a:extLst>
          </p:cNvPr>
          <p:cNvSpPr/>
          <p:nvPr/>
        </p:nvSpPr>
        <p:spPr>
          <a:xfrm>
            <a:off x="5907163" y="4735126"/>
            <a:ext cx="10182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666666"/>
                </a:solidFill>
                <a:latin typeface="Times New Roman" panose="02020603050405020304" pitchFamily="18" charset="0"/>
              </a:rPr>
              <a:t> Notizzettel</a:t>
            </a:r>
            <a:endParaRPr lang="en-US" sz="1400">
              <a:solidFill>
                <a:srgbClr val="666666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BBED6D12-4255-4E3B-AE75-D1DF00FC86D5}"/>
              </a:ext>
            </a:extLst>
          </p:cNvPr>
          <p:cNvSpPr/>
          <p:nvPr/>
        </p:nvSpPr>
        <p:spPr>
          <a:xfrm>
            <a:off x="7318343" y="4733637"/>
            <a:ext cx="10182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>
                <a:solidFill>
                  <a:srgbClr val="666666"/>
                </a:solidFill>
              </a:rPr>
              <a:t>Tisch mit IP-Kamera​</a:t>
            </a:r>
            <a:endParaRPr lang="en-US" sz="1100">
              <a:solidFill>
                <a:srgbClr val="666666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FB8DF83-57A5-4AE7-BA1C-CE587016E352}"/>
              </a:ext>
            </a:extLst>
          </p:cNvPr>
          <p:cNvSpPr/>
          <p:nvPr/>
        </p:nvSpPr>
        <p:spPr>
          <a:xfrm>
            <a:off x="8994491" y="4726168"/>
            <a:ext cx="10182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>
                <a:solidFill>
                  <a:srgbClr val="666666"/>
                </a:solidFill>
              </a:rPr>
              <a:t>Abgelegte ToDo-Liste</a:t>
            </a:r>
            <a:r>
              <a:rPr lang="de-DE"/>
              <a:t>​</a:t>
            </a:r>
            <a:endParaRPr lang="en-US" sz="1100">
              <a:solidFill>
                <a:srgbClr val="666666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EFDB006-3948-4106-A0D9-6A8B84102571}"/>
              </a:ext>
            </a:extLst>
          </p:cNvPr>
          <p:cNvSpPr/>
          <p:nvPr/>
        </p:nvSpPr>
        <p:spPr>
          <a:xfrm>
            <a:off x="10442145" y="4755302"/>
            <a:ext cx="12767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>
                <a:solidFill>
                  <a:srgbClr val="666666"/>
                </a:solidFill>
              </a:rPr>
              <a:t>Automatisierte Taskerstellung</a:t>
            </a:r>
            <a:r>
              <a:rPr lang="de-DE"/>
              <a:t>​</a:t>
            </a:r>
            <a:endParaRPr lang="en-US" sz="1100">
              <a:solidFill>
                <a:srgbClr val="666666"/>
              </a:solidFill>
            </a:endParaRPr>
          </a:p>
        </p:txBody>
      </p:sp>
      <p:pic>
        <p:nvPicPr>
          <p:cNvPr id="6163" name="Picture 19" descr="Bedienung von tisch und lampe icon, umriss-stil. Bedienungstisch ...">
            <a:extLst>
              <a:ext uri="{FF2B5EF4-FFF2-40B4-BE49-F238E27FC236}">
                <a16:creationId xmlns:a16="http://schemas.microsoft.com/office/drawing/2014/main" id="{3E60AD53-1E7B-4A8F-B4DB-30107019CF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101" y="4077382"/>
            <a:ext cx="577161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C1A8FA3-B5CC-4B5D-A500-D39D25B10A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81870" y="3944347"/>
            <a:ext cx="166336" cy="123458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1C52044C-C8DC-4548-A8B3-357B7125BD02}"/>
              </a:ext>
            </a:extLst>
          </p:cNvPr>
          <p:cNvSpPr txBox="1"/>
          <p:nvPr/>
        </p:nvSpPr>
        <p:spPr>
          <a:xfrm>
            <a:off x="10676039" y="6142533"/>
            <a:ext cx="134363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00"/>
              <a:t>Bildquelle : </a:t>
            </a:r>
            <a:r>
              <a:rPr lang="en-US" sz="500">
                <a:hlinkClick r:id="rId8"/>
              </a:rPr>
              <a:t>https://icons8.de/icons/set/note</a:t>
            </a:r>
            <a:endParaRPr lang="en-US" sz="50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70ABC011-7B93-4F66-A17D-35E493150A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01617" y="3920682"/>
            <a:ext cx="582074" cy="5628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08346996-A311-4AC7-8191-C65A1E481E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92268" y="3920682"/>
            <a:ext cx="582074" cy="5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45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EF5935-BD2F-4356-A016-7BAD57FD6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7608"/>
            <a:ext cx="10515600" cy="1325563"/>
          </a:xfrm>
        </p:spPr>
        <p:txBody>
          <a:bodyPr/>
          <a:lstStyle/>
          <a:p>
            <a:r>
              <a:rPr lang="de-DE"/>
              <a:t>Umsetzung – Smart Tabl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1830ECE3-1DD6-4467-AB40-6C59A14CE942}"/>
              </a:ext>
            </a:extLst>
          </p:cNvPr>
          <p:cNvSpPr/>
          <p:nvPr/>
        </p:nvSpPr>
        <p:spPr>
          <a:xfrm>
            <a:off x="336266" y="1440367"/>
            <a:ext cx="5212797" cy="4641566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F78A2F4-A22D-407E-818D-B3F42DB8975F}"/>
              </a:ext>
            </a:extLst>
          </p:cNvPr>
          <p:cNvSpPr/>
          <p:nvPr/>
        </p:nvSpPr>
        <p:spPr>
          <a:xfrm>
            <a:off x="5631728" y="1445623"/>
            <a:ext cx="6325141" cy="4659083"/>
          </a:xfrm>
          <a:prstGeom prst="rect">
            <a:avLst/>
          </a:prstGeom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6" descr="Ein Bild, das Computer enthält.&#10;&#10;Beschreibung automatisch generiert.">
            <a:extLst>
              <a:ext uri="{FF2B5EF4-FFF2-40B4-BE49-F238E27FC236}">
                <a16:creationId xmlns:a16="http://schemas.microsoft.com/office/drawing/2014/main" id="{51C6C310-8AF0-448E-A8F9-EAA87204C8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3020" y="2352387"/>
            <a:ext cx="5808716" cy="2170748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0ACA9B-000C-4F1B-9B6A-BD9461907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1505F300-92C0-46F4-AD26-F3AFC19CB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265" y="3641330"/>
            <a:ext cx="1174458" cy="9307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4" descr="Ein Bild, das drinnen, Computer, Tisch, computer enthält.&#10;&#10;Beschreibung automatisch generiert.">
            <a:extLst>
              <a:ext uri="{FF2B5EF4-FFF2-40B4-BE49-F238E27FC236}">
                <a16:creationId xmlns:a16="http://schemas.microsoft.com/office/drawing/2014/main" id="{A28B2C66-02D6-4D16-94F1-1FB6B7E2C9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469" y="2222713"/>
            <a:ext cx="3706648" cy="3761402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8590934-E53E-41D4-B049-358A68F5AFF5}"/>
              </a:ext>
            </a:extLst>
          </p:cNvPr>
          <p:cNvCxnSpPr/>
          <p:nvPr/>
        </p:nvCxnSpPr>
        <p:spPr>
          <a:xfrm>
            <a:off x="0" y="1354015"/>
            <a:ext cx="121920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14" descr="Ein Bild, das sitzend, Monitor, Foto, Tisch enthält.&#10;&#10;Beschreibung automatisch generiert.">
            <a:extLst>
              <a:ext uri="{FF2B5EF4-FFF2-40B4-BE49-F238E27FC236}">
                <a16:creationId xmlns:a16="http://schemas.microsoft.com/office/drawing/2014/main" id="{FAA50AAB-2234-4CB8-B82F-ADC2215A1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409" y="4622722"/>
            <a:ext cx="1468034" cy="1294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E8F6FF3D-47B4-449E-A935-3A1552EBBBA5}"/>
              </a:ext>
            </a:extLst>
          </p:cNvPr>
          <p:cNvSpPr txBox="1"/>
          <p:nvPr/>
        </p:nvSpPr>
        <p:spPr>
          <a:xfrm>
            <a:off x="2009228" y="1571297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u="sng"/>
              <a:t>Prototyp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308F370-C5FE-4611-8372-2FD831E30BD1}"/>
              </a:ext>
            </a:extLst>
          </p:cNvPr>
          <p:cNvSpPr txBox="1"/>
          <p:nvPr/>
        </p:nvSpPr>
        <p:spPr>
          <a:xfrm>
            <a:off x="8359227" y="1667641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u="sng"/>
              <a:t>Architektur</a:t>
            </a:r>
          </a:p>
        </p:txBody>
      </p:sp>
    </p:spTree>
    <p:extLst>
      <p:ext uri="{BB962C8B-B14F-4D97-AF65-F5344CB8AC3E}">
        <p14:creationId xmlns:p14="http://schemas.microsoft.com/office/powerpoint/2010/main" val="4039081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3384638375EC949A2B5C4AB41114906" ma:contentTypeVersion="3" ma:contentTypeDescription="Ein neues Dokument erstellen." ma:contentTypeScope="" ma:versionID="cdc479e02aaef4066489d6973227e050">
  <xsd:schema xmlns:xsd="http://www.w3.org/2001/XMLSchema" xmlns:xs="http://www.w3.org/2001/XMLSchema" xmlns:p="http://schemas.microsoft.com/office/2006/metadata/properties" xmlns:ns2="2351d129-2cbd-46e8-b74f-88262f59e2f8" targetNamespace="http://schemas.microsoft.com/office/2006/metadata/properties" ma:root="true" ma:fieldsID="2469d6e6f7a2d47aaaf06ac0d0619ab7" ns2:_="">
    <xsd:import namespace="2351d129-2cbd-46e8-b74f-88262f59e2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51d129-2cbd-46e8-b74f-88262f59e2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2094D1-2A36-4117-8BF4-BD9AFA95EED1}">
  <ds:schemaRefs>
    <ds:schemaRef ds:uri="2351d129-2cbd-46e8-b74f-88262f59e2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1FDDBA7-B85D-4209-A818-52ECCCDCC9C5}"/>
</file>

<file path=customXml/itemProps3.xml><?xml version="1.0" encoding="utf-8"?>
<ds:datastoreItem xmlns:ds="http://schemas.openxmlformats.org/officeDocument/2006/customXml" ds:itemID="{72809D38-0DAC-4D47-B840-261D4C45FF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Application>Microsoft Office PowerPoint</Application>
  <PresentationFormat>Breitbild</PresentationFormat>
  <Slides>4</Slides>
  <Notes>2</Notes>
  <HiddenSlides>0</HiddenSlide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5" baseType="lpstr">
      <vt:lpstr>Office Theme</vt:lpstr>
      <vt:lpstr>IoT Hackathon Smart Table   IoT Professor Dr. Christian Decker</vt:lpstr>
      <vt:lpstr>Problem – Smart Table</vt:lpstr>
      <vt:lpstr>Idee – Smart Table</vt:lpstr>
      <vt:lpstr>Umsetzung – Smart Tab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revision>3</cp:revision>
  <cp:lastPrinted>2012-09-04T09:22:48Z</cp:lastPrinted>
  <dcterms:created xsi:type="dcterms:W3CDTF">2011-07-07T11:12:14Z</dcterms:created>
  <dcterms:modified xsi:type="dcterms:W3CDTF">2020-06-30T16:3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  <property fmtid="{D5CDD505-2E9C-101B-9397-08002B2CF9AE}" pid="6" name="ContentTypeId">
    <vt:lpwstr>0x01010023384638375EC949A2B5C4AB41114906</vt:lpwstr>
  </property>
</Properties>
</file>